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7"/>
  </p:notesMasterIdLst>
  <p:sldIdLst>
    <p:sldId id="262" r:id="rId2"/>
    <p:sldId id="259" r:id="rId3"/>
    <p:sldId id="260" r:id="rId4"/>
    <p:sldId id="257" r:id="rId5"/>
    <p:sldId id="258" r:id="rId6"/>
  </p:sldIdLst>
  <p:sldSz cx="9144000" cy="6858000" type="screen4x3"/>
  <p:notesSz cx="7315200" cy="96012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4554"/>
    <a:srgbClr val="B7A66D"/>
    <a:srgbClr val="F4AF00"/>
    <a:srgbClr val="3F344A"/>
    <a:srgbClr val="500000"/>
    <a:srgbClr val="1D3362"/>
    <a:srgbClr val="D1D1D1"/>
    <a:srgbClr val="8F8F8C"/>
    <a:srgbClr val="F6F4EE"/>
    <a:srgbClr val="5F57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81" autoAdjust="0"/>
    <p:restoredTop sz="96149" autoAdjust="0"/>
  </p:normalViewPr>
  <p:slideViewPr>
    <p:cSldViewPr showGuides="1">
      <p:cViewPr>
        <p:scale>
          <a:sx n="90" d="100"/>
          <a:sy n="90" d="100"/>
        </p:scale>
        <p:origin x="-1541" y="77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-williams\AppData\Local\Microsoft\Windows\Temporary%20Internet%20Files\Content.Outlook\F0HSVOTB\FY%202017%20results%20graphs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1099640369187436E-2"/>
          <c:y val="3.2962069257471846E-2"/>
          <c:w val="0.90654289163292512"/>
          <c:h val="0.85052624671916011"/>
        </c:manualLayout>
      </c:layout>
      <c:lineChart>
        <c:grouping val="standard"/>
        <c:varyColors val="0"/>
        <c:ser>
          <c:idx val="0"/>
          <c:order val="0"/>
          <c:spPr>
            <a:ln w="19050">
              <a:solidFill>
                <a:srgbClr val="104554"/>
              </a:solidFill>
            </a:ln>
            <a:effectLst/>
          </c:spPr>
          <c:marker>
            <c:symbol val="diamond"/>
            <c:size val="12"/>
            <c:spPr>
              <a:solidFill>
                <a:srgbClr val="B7A66D"/>
              </a:solidFill>
              <a:ln>
                <a:solidFill>
                  <a:srgbClr val="B7A66D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3.5133163996680331E-2"/>
                  <c:y val="4.166666666666666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8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4.1521011996076752E-2"/>
                  <c:y val="-3.387096774193548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9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5551517742625054E-2"/>
                  <c:y val="3.593197019727372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1.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9505947740361642E-2"/>
                  <c:y val="-3.727605621877910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1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2.8745315997283909E-2"/>
                  <c:y val="4.668465836931674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4.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3.6730125996529438E-2"/>
                  <c:y val="-3.64696046058758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4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9924049996227652E-2"/>
                  <c:y val="3.763440860215053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4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9.5817719990946362E-3"/>
                  <c:y val="1.442659385318770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4.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5.1102783995171389E-2"/>
                  <c:y val="-4.032258064516128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6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1.2574503935819732E-7"/>
                  <c:y val="2.6881720430107529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6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6.5475441993813346E-2"/>
                  <c:y val="-2.1505376344086023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81.1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5.4296707994869658E-2"/>
                  <c:y val="-3.2258064516129031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4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6.3878479993964236E-3"/>
                  <c:y val="1.0752688172043012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83.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6.7072403993662447E-2"/>
                  <c:y val="-2.150537634408602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89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3.0342277997133012E-2"/>
                  <c:y val="3.763419693506053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0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4.4714935995774967E-2"/>
                  <c:y val="-3.49462365591397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1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3.8327087996378545E-2"/>
                  <c:y val="3.4946024892049787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91.2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2.0760505998038376E-2"/>
                  <c:y val="3.225764118194902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2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3.6730125996529438E-2"/>
                  <c:y val="-3.49462365591397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3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3.3536201996831223E-2"/>
                  <c:y val="4.032258064516128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3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2.0760505998038376E-2"/>
                  <c:y val="-4.5698924731182797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94.0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6.0684555994266025E-2"/>
                  <c:y val="3.494623655913980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0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3.1939239996982116E-2"/>
                  <c:y val="4.301075268817206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0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4.4714935995774967E-2"/>
                  <c:y val="-3.763440860215053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0.5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3.8327087996378545E-2"/>
                  <c:y val="4.301054102108204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1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layout>
                <c:manualLayout>
                  <c:x val="-3.5133163996680331E-2"/>
                  <c:y val="-3.494623655913978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1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-4.1521011996076752E-2"/>
                  <c:y val="4.032258064516128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1.3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7"/>
              <c:layout>
                <c:manualLayout>
                  <c:x val="-1.5970877448884641E-3"/>
                  <c:y val="4.426530353060706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1.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0.0%" sourceLinked="0"/>
            <c:txPr>
              <a:bodyPr/>
              <a:lstStyle/>
              <a:p>
                <a:pPr>
                  <a:defRPr sz="1200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114:$A$141</c:f>
              <c:numCache>
                <c:formatCode>General</c:formatCode>
                <c:ptCount val="28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  <c:pt idx="27">
                  <c:v>2019</c:v>
                </c:pt>
              </c:numCache>
            </c:numRef>
          </c:cat>
          <c:val>
            <c:numRef>
              <c:f>Sheet1!$B$114:$B$141</c:f>
              <c:numCache>
                <c:formatCode>0.00%</c:formatCode>
                <c:ptCount val="28"/>
                <c:pt idx="0">
                  <c:v>0.68600000000000005</c:v>
                </c:pt>
                <c:pt idx="1">
                  <c:v>0.69140000000000001</c:v>
                </c:pt>
                <c:pt idx="2">
                  <c:v>0.71009999999999995</c:v>
                </c:pt>
                <c:pt idx="3">
                  <c:v>0.71750000000000003</c:v>
                </c:pt>
                <c:pt idx="4">
                  <c:v>0.7399</c:v>
                </c:pt>
                <c:pt idx="5">
                  <c:v>0.74590000000000001</c:v>
                </c:pt>
                <c:pt idx="6">
                  <c:v>0.74380000000000002</c:v>
                </c:pt>
                <c:pt idx="7">
                  <c:v>0.73950000000000005</c:v>
                </c:pt>
                <c:pt idx="8">
                  <c:v>0.76600000000000001</c:v>
                </c:pt>
                <c:pt idx="9">
                  <c:v>0.76070000000000004</c:v>
                </c:pt>
                <c:pt idx="10">
                  <c:v>0.81120000000000003</c:v>
                </c:pt>
                <c:pt idx="11">
                  <c:v>0.84250000000000003</c:v>
                </c:pt>
                <c:pt idx="12">
                  <c:v>0.83150000000000002</c:v>
                </c:pt>
                <c:pt idx="13">
                  <c:v>0.89900000000000002</c:v>
                </c:pt>
                <c:pt idx="14">
                  <c:v>0.90439999999999998</c:v>
                </c:pt>
                <c:pt idx="15">
                  <c:v>0.91830000000000001</c:v>
                </c:pt>
                <c:pt idx="16">
                  <c:v>0.91239999999999999</c:v>
                </c:pt>
                <c:pt idx="17">
                  <c:v>0.9294</c:v>
                </c:pt>
                <c:pt idx="18">
                  <c:v>0.93840000000000001</c:v>
                </c:pt>
                <c:pt idx="19">
                  <c:v>0.93679999999999997</c:v>
                </c:pt>
                <c:pt idx="20">
                  <c:v>0.94040000000000001</c:v>
                </c:pt>
                <c:pt idx="21">
                  <c:v>0.90280000000000005</c:v>
                </c:pt>
                <c:pt idx="22">
                  <c:v>0.90739999999999998</c:v>
                </c:pt>
                <c:pt idx="23">
                  <c:v>0.90469999999999995</c:v>
                </c:pt>
                <c:pt idx="24">
                  <c:v>0.91610000000000003</c:v>
                </c:pt>
                <c:pt idx="25">
                  <c:v>0.91900000000000004</c:v>
                </c:pt>
                <c:pt idx="26">
                  <c:v>0.91300000000000003</c:v>
                </c:pt>
                <c:pt idx="27">
                  <c:v>0.9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84871040"/>
        <c:axId val="84872576"/>
      </c:lineChart>
      <c:catAx>
        <c:axId val="848710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84872576"/>
        <c:crosses val="autoZero"/>
        <c:auto val="1"/>
        <c:lblAlgn val="ctr"/>
        <c:lblOffset val="100"/>
        <c:noMultiLvlLbl val="0"/>
      </c:catAx>
      <c:valAx>
        <c:axId val="84872576"/>
        <c:scaling>
          <c:orientation val="minMax"/>
          <c:min val="0.5"/>
        </c:scaling>
        <c:delete val="0"/>
        <c:axPos val="l"/>
        <c:majorGridlines/>
        <c:numFmt formatCode="0%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84871040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0/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5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657600"/>
            <a:ext cx="3862391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286375"/>
            <a:ext cx="3862391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05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045871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78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7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2" y="76202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6" y="1066800"/>
            <a:ext cx="8477251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52" y="6582397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8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Statewide </a:t>
            </a:r>
            <a:r>
              <a:rPr lang="en-US" dirty="0" smtClean="0">
                <a:solidFill>
                  <a:srgbClr val="104554"/>
                </a:solidFill>
              </a:rPr>
              <a:t>2019 </a:t>
            </a:r>
            <a:r>
              <a:rPr lang="en-US" dirty="0" smtClean="0">
                <a:solidFill>
                  <a:srgbClr val="104554"/>
                </a:solidFill>
              </a:rPr>
              <a:t>Safety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Belt Use Rat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</a:t>
            </a:fld>
            <a:endParaRPr lang="en-US" dirty="0"/>
          </a:p>
        </p:txBody>
      </p:sp>
      <p:grpSp>
        <p:nvGrpSpPr>
          <p:cNvPr id="43" name="Group 42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44" name="Rectangle 43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590829" y="4510223"/>
            <a:ext cx="296410" cy="366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527416" y="396232"/>
            <a:ext cx="5616585" cy="60967"/>
            <a:chOff x="3352800" y="396232"/>
            <a:chExt cx="5791202" cy="60967"/>
          </a:xfrm>
        </p:grpSpPr>
        <p:sp>
          <p:nvSpPr>
            <p:cNvPr id="51" name="Rectangle 5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" name="TextBox 2"/>
          <p:cNvSpPr txBox="1"/>
          <p:nvPr/>
        </p:nvSpPr>
        <p:spPr>
          <a:xfrm rot="16200000">
            <a:off x="-444279" y="2985700"/>
            <a:ext cx="2079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% Safety Belt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5" name="Chart 2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31340476"/>
              </p:ext>
            </p:extLst>
          </p:nvPr>
        </p:nvGraphicFramePr>
        <p:xfrm>
          <a:off x="689467" y="1219200"/>
          <a:ext cx="7952600" cy="472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46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758" y="3124200"/>
            <a:ext cx="1730042" cy="1730042"/>
          </a:xfrm>
          <a:prstGeom prst="rect">
            <a:avLst/>
          </a:prstGeom>
          <a:noFill/>
          <a:ln w="9525">
            <a:solidFill>
              <a:srgbClr val="10455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89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Texas </a:t>
            </a:r>
            <a:r>
              <a:rPr lang="en-US" dirty="0" smtClean="0">
                <a:solidFill>
                  <a:srgbClr val="104554"/>
                </a:solidFill>
              </a:rPr>
              <a:t>2019 </a:t>
            </a:r>
            <a:r>
              <a:rPr lang="en-US" dirty="0" smtClean="0">
                <a:solidFill>
                  <a:srgbClr val="104554"/>
                </a:solidFill>
              </a:rPr>
              <a:t>Safety Belt Use by City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654" y="1143000"/>
            <a:ext cx="3733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.  Total 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6,113 occupants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in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1,600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vehicles (1,200 per city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). Average estimate across cities of total restraint use is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9.0%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Drivers were seat belted at a rate of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9.2%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nd passengers at a rate of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7.6%.</a:t>
            </a:r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81599" y="271136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4%</a:t>
            </a:r>
            <a:endParaRPr lang="en-US" sz="1200" b="1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7100783" y="254943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8%</a:t>
            </a:r>
            <a:endParaRPr lang="en-US" sz="1200" b="1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4953000" y="1247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9%</a:t>
            </a:r>
            <a:endParaRPr lang="en-US" sz="1200" b="1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6094879" y="40305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/>
              <a:t>92.8%</a:t>
            </a:r>
            <a:endParaRPr lang="en-US" sz="1200" b="1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7609141" y="38920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2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37752" y="561118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9%</a:t>
            </a:r>
            <a:endParaRPr lang="en-US" sz="1200" b="1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6595975" y="36258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90.0%</a:t>
            </a:r>
            <a:endParaRPr lang="en-US" sz="1200" b="1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6144745" y="5064978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1%</a:t>
            </a:r>
            <a:endParaRPr lang="en-US" sz="1200" b="1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7100782" y="4296529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9%</a:t>
            </a:r>
            <a:endParaRPr lang="en-US" sz="1200" b="1" dirty="0" smtClean="0"/>
          </a:p>
        </p:txBody>
      </p:sp>
      <p:sp>
        <p:nvSpPr>
          <p:cNvPr id="32" name="TextBox 31"/>
          <p:cNvSpPr txBox="1"/>
          <p:nvPr/>
        </p:nvSpPr>
        <p:spPr>
          <a:xfrm>
            <a:off x="302054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0%</a:t>
            </a:r>
            <a:endParaRPr lang="en-US" sz="1200" b="1" dirty="0" smtClean="0"/>
          </a:p>
        </p:txBody>
      </p:sp>
      <p:sp>
        <p:nvSpPr>
          <p:cNvPr id="33" name="TextBox 32"/>
          <p:cNvSpPr txBox="1"/>
          <p:nvPr/>
        </p:nvSpPr>
        <p:spPr>
          <a:xfrm>
            <a:off x="6262126" y="257286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7%</a:t>
            </a:r>
            <a:endParaRPr lang="en-US" sz="1200" b="1" dirty="0" smtClean="0"/>
          </a:p>
        </p:txBody>
      </p:sp>
      <p:sp>
        <p:nvSpPr>
          <p:cNvPr id="34" name="TextBox 33"/>
          <p:cNvSpPr txBox="1"/>
          <p:nvPr/>
        </p:nvSpPr>
        <p:spPr>
          <a:xfrm>
            <a:off x="5943599" y="5361027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0%</a:t>
            </a:r>
            <a:endParaRPr lang="en-US" sz="1200" b="1" dirty="0" smtClean="0"/>
          </a:p>
        </p:txBody>
      </p:sp>
      <p:sp>
        <p:nvSpPr>
          <p:cNvPr id="35" name="TextBox 34"/>
          <p:cNvSpPr txBox="1"/>
          <p:nvPr/>
        </p:nvSpPr>
        <p:spPr>
          <a:xfrm>
            <a:off x="482917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2%</a:t>
            </a:r>
            <a:endParaRPr lang="en-US" sz="1200" b="1" dirty="0" smtClean="0"/>
          </a:p>
        </p:txBody>
      </p:sp>
      <p:sp>
        <p:nvSpPr>
          <p:cNvPr id="36" name="TextBox 35"/>
          <p:cNvSpPr txBox="1"/>
          <p:nvPr/>
        </p:nvSpPr>
        <p:spPr>
          <a:xfrm>
            <a:off x="5001745" y="216140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7%</a:t>
            </a:r>
            <a:endParaRPr lang="en-US" sz="1200" b="1" dirty="0" smtClean="0"/>
          </a:p>
        </p:txBody>
      </p:sp>
      <p:sp>
        <p:nvSpPr>
          <p:cNvPr id="37" name="TextBox 36"/>
          <p:cNvSpPr txBox="1"/>
          <p:nvPr/>
        </p:nvSpPr>
        <p:spPr>
          <a:xfrm>
            <a:off x="5791200" y="44818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9%</a:t>
            </a:r>
            <a:endParaRPr lang="en-US" sz="1200" b="1" dirty="0" smtClean="0"/>
          </a:p>
        </p:txBody>
      </p:sp>
      <p:sp>
        <p:nvSpPr>
          <p:cNvPr id="38" name="TextBox 37"/>
          <p:cNvSpPr txBox="1"/>
          <p:nvPr/>
        </p:nvSpPr>
        <p:spPr>
          <a:xfrm>
            <a:off x="7770793" y="2784974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4%</a:t>
            </a:r>
            <a:endParaRPr lang="en-US" sz="1200" b="1" dirty="0" smtClean="0"/>
          </a:p>
        </p:txBody>
      </p:sp>
      <p:sp>
        <p:nvSpPr>
          <p:cNvPr id="39" name="TextBox 38"/>
          <p:cNvSpPr txBox="1"/>
          <p:nvPr/>
        </p:nvSpPr>
        <p:spPr>
          <a:xfrm>
            <a:off x="6248400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3%</a:t>
            </a:r>
            <a:endParaRPr lang="en-US" sz="1200" b="1" dirty="0" smtClean="0"/>
          </a:p>
        </p:txBody>
      </p:sp>
      <p:sp>
        <p:nvSpPr>
          <p:cNvPr id="40" name="TextBox 39"/>
          <p:cNvSpPr txBox="1"/>
          <p:nvPr/>
        </p:nvSpPr>
        <p:spPr>
          <a:xfrm>
            <a:off x="6938875" y="31769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7%</a:t>
            </a:r>
            <a:endParaRPr lang="en-US" sz="1200" b="1" dirty="0" smtClean="0"/>
          </a:p>
        </p:txBody>
      </p:sp>
      <p:grpSp>
        <p:nvGrpSpPr>
          <p:cNvPr id="60" name="Group 59"/>
          <p:cNvGrpSpPr/>
          <p:nvPr/>
        </p:nvGrpSpPr>
        <p:grpSpPr>
          <a:xfrm>
            <a:off x="5105400" y="396233"/>
            <a:ext cx="4038602" cy="60966"/>
            <a:chOff x="3352800" y="396232"/>
            <a:chExt cx="5791202" cy="60967"/>
          </a:xfrm>
        </p:grpSpPr>
        <p:sp>
          <p:nvSpPr>
            <p:cNvPr id="61" name="Rectangle 6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68" name="Rectangle 67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401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Texas </a:t>
            </a:r>
            <a:r>
              <a:rPr lang="en-US" dirty="0" smtClean="0">
                <a:solidFill>
                  <a:srgbClr val="104554"/>
                </a:solidFill>
              </a:rPr>
              <a:t>2019 </a:t>
            </a:r>
            <a:r>
              <a:rPr lang="en-US" dirty="0" smtClean="0">
                <a:solidFill>
                  <a:srgbClr val="104554"/>
                </a:solidFill>
              </a:rPr>
              <a:t>Nighttime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Safety Belt Use by City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8620" y="1174629"/>
            <a:ext cx="34975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 combined. Total 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2,763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occupants. Average estimate across cities of total nighttime restraint use is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4.6%.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Drivers were seat belted at a rate of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4.4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% and passengers at a rate of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5.5%.</a:t>
            </a:r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1599" y="2694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4%</a:t>
            </a:r>
            <a:endParaRPr lang="en-US" sz="1200" b="1" dirty="0" smtClean="0"/>
          </a:p>
        </p:txBody>
      </p:sp>
      <p:sp>
        <p:nvSpPr>
          <p:cNvPr id="21" name="TextBox 20"/>
          <p:cNvSpPr txBox="1"/>
          <p:nvPr/>
        </p:nvSpPr>
        <p:spPr>
          <a:xfrm>
            <a:off x="6096000" y="40209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9</a:t>
            </a:r>
            <a:r>
              <a:rPr lang="en-US" sz="1200" b="1" dirty="0" smtClean="0"/>
              <a:t>%</a:t>
            </a:r>
            <a:endParaRPr lang="en-US" sz="1200" b="1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4953000" y="1295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3%</a:t>
            </a:r>
            <a:endParaRPr lang="en-US" sz="1200" b="1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7619999" y="389615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9.2%</a:t>
            </a:r>
            <a:endParaRPr lang="en-US" sz="1200" b="1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6248400" y="562772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5%</a:t>
            </a:r>
            <a:endParaRPr lang="en-US" sz="1200" b="1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6705599" y="363496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7%</a:t>
            </a:r>
            <a:endParaRPr lang="en-US" sz="1200" b="1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6134099" y="505854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5%</a:t>
            </a:r>
            <a:endParaRPr lang="en-US" sz="1200" b="1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7117279" y="253646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4%</a:t>
            </a:r>
            <a:endParaRPr lang="en-US" sz="1200" b="1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3022591" y="316887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6%</a:t>
            </a:r>
            <a:endParaRPr lang="en-US" sz="1200" b="1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7162799" y="4267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0.5%</a:t>
            </a:r>
            <a:endParaRPr lang="en-US" sz="1200" b="1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6266794" y="25870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4%</a:t>
            </a:r>
            <a:endParaRPr lang="en-US" sz="1200" b="1" dirty="0" smtClean="0"/>
          </a:p>
        </p:txBody>
      </p:sp>
      <p:sp>
        <p:nvSpPr>
          <p:cNvPr id="32" name="TextBox 31"/>
          <p:cNvSpPr txBox="1"/>
          <p:nvPr/>
        </p:nvSpPr>
        <p:spPr>
          <a:xfrm>
            <a:off x="5959705" y="5361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3%</a:t>
            </a:r>
            <a:endParaRPr lang="en-US" sz="1200" b="1" dirty="0" smtClean="0"/>
          </a:p>
        </p:txBody>
      </p:sp>
      <p:sp>
        <p:nvSpPr>
          <p:cNvPr id="33" name="TextBox 32"/>
          <p:cNvSpPr txBox="1"/>
          <p:nvPr/>
        </p:nvSpPr>
        <p:spPr>
          <a:xfrm>
            <a:off x="5791199" y="448334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2%</a:t>
            </a:r>
            <a:endParaRPr lang="en-US" sz="1200" b="1" dirty="0" smtClean="0"/>
          </a:p>
        </p:txBody>
      </p:sp>
      <p:sp>
        <p:nvSpPr>
          <p:cNvPr id="34" name="TextBox 33"/>
          <p:cNvSpPr txBox="1"/>
          <p:nvPr/>
        </p:nvSpPr>
        <p:spPr>
          <a:xfrm>
            <a:off x="7794402" y="278602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6%</a:t>
            </a:r>
            <a:endParaRPr lang="en-US" sz="1200" b="1" dirty="0" smtClean="0"/>
          </a:p>
        </p:txBody>
      </p:sp>
      <p:sp>
        <p:nvSpPr>
          <p:cNvPr id="35" name="TextBox 34"/>
          <p:cNvSpPr txBox="1"/>
          <p:nvPr/>
        </p:nvSpPr>
        <p:spPr>
          <a:xfrm>
            <a:off x="6991348" y="31827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7%</a:t>
            </a:r>
            <a:endParaRPr lang="en-US" sz="1200" b="1" dirty="0" smtClean="0"/>
          </a:p>
        </p:txBody>
      </p:sp>
      <p:sp>
        <p:nvSpPr>
          <p:cNvPr id="36" name="TextBox 35"/>
          <p:cNvSpPr txBox="1"/>
          <p:nvPr/>
        </p:nvSpPr>
        <p:spPr>
          <a:xfrm>
            <a:off x="6248399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2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979419" y="21921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8%</a:t>
            </a:r>
            <a:endParaRPr lang="en-US" sz="1200" b="1" dirty="0" smtClean="0"/>
          </a:p>
        </p:txBody>
      </p:sp>
      <p:sp>
        <p:nvSpPr>
          <p:cNvPr id="38" name="TextBox 37"/>
          <p:cNvSpPr txBox="1"/>
          <p:nvPr/>
        </p:nvSpPr>
        <p:spPr>
          <a:xfrm>
            <a:off x="4800600" y="3200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2%</a:t>
            </a:r>
            <a:endParaRPr lang="en-US" sz="1200" b="1" dirty="0" smtClean="0"/>
          </a:p>
        </p:txBody>
      </p:sp>
      <p:grpSp>
        <p:nvGrpSpPr>
          <p:cNvPr id="40" name="Group 39"/>
          <p:cNvGrpSpPr/>
          <p:nvPr/>
        </p:nvGrpSpPr>
        <p:grpSpPr>
          <a:xfrm>
            <a:off x="3352800" y="396232"/>
            <a:ext cx="5791202" cy="60967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609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04800"/>
            <a:ext cx="6158542" cy="6158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2019 </a:t>
            </a:r>
            <a:r>
              <a:rPr lang="en-US" dirty="0" smtClean="0">
                <a:solidFill>
                  <a:srgbClr val="104554"/>
                </a:solidFill>
              </a:rPr>
              <a:t>Child </a:t>
            </a:r>
            <a:r>
              <a:rPr lang="en-US" dirty="0">
                <a:solidFill>
                  <a:srgbClr val="104554"/>
                </a:solidFill>
              </a:rPr>
              <a:t>Restraint Use </a:t>
            </a:r>
            <a:r>
              <a:rPr lang="en-US" dirty="0" smtClean="0">
                <a:solidFill>
                  <a:srgbClr val="104554"/>
                </a:solidFill>
              </a:rPr>
              <a:t>in 14 </a:t>
            </a:r>
            <a:r>
              <a:rPr lang="en-US" dirty="0">
                <a:solidFill>
                  <a:srgbClr val="104554"/>
                </a:solidFill>
              </a:rPr>
              <a:t>Texas Cities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0" y="1054078"/>
            <a:ext cx="3581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at child care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centers</a:t>
            </a:r>
            <a:b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</a:b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nd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hopping center entry points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Childre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stimated as 4 years old and younger included in the sample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Total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13,853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verage estimate across cities of total restraint use is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87.5%.</a:t>
            </a:r>
            <a:endParaRPr lang="en-US" sz="1400" dirty="0" smtClean="0">
              <a:solidFill>
                <a:srgbClr val="5F574F"/>
              </a:solidFill>
              <a:latin typeface="Franklin Gothic Book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4800599" y="130956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8.6%</a:t>
            </a:r>
            <a:endParaRPr lang="en-US" sz="1200" b="1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7467600" y="389605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7%</a:t>
            </a:r>
            <a:endParaRPr lang="en-US" sz="1200" b="1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6096775" y="399382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93.6%</a:t>
            </a:r>
            <a:endParaRPr lang="en-US" sz="1200" b="1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6095999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8.9%</a:t>
            </a:r>
            <a:endParaRPr lang="en-US" sz="1200" b="1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6496028" y="362997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7%</a:t>
            </a:r>
            <a:endParaRPr lang="en-US" sz="1200" b="1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6096776" y="505443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4%</a:t>
            </a:r>
            <a:endParaRPr lang="en-US" sz="1200" b="1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6924673" y="256204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3.2%</a:t>
            </a:r>
            <a:endParaRPr lang="en-US" sz="1200" b="1" dirty="0" smtClean="0"/>
          </a:p>
        </p:txBody>
      </p:sp>
      <p:sp>
        <p:nvSpPr>
          <p:cNvPr id="28" name="TextBox 27"/>
          <p:cNvSpPr txBox="1"/>
          <p:nvPr/>
        </p:nvSpPr>
        <p:spPr>
          <a:xfrm>
            <a:off x="297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1%</a:t>
            </a:r>
            <a:endParaRPr lang="en-US" sz="1200" b="1" dirty="0" smtClean="0"/>
          </a:p>
        </p:txBody>
      </p:sp>
      <p:sp>
        <p:nvSpPr>
          <p:cNvPr id="29" name="TextBox 28"/>
          <p:cNvSpPr txBox="1"/>
          <p:nvPr/>
        </p:nvSpPr>
        <p:spPr>
          <a:xfrm>
            <a:off x="6115050" y="256204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4%</a:t>
            </a:r>
            <a:endParaRPr lang="en-US" sz="1200" b="1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4831870" y="21811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4%</a:t>
            </a:r>
            <a:endParaRPr lang="en-US" sz="1200" b="1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6939474" y="425397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9.5%</a:t>
            </a:r>
            <a:endParaRPr lang="en-US" sz="1200" b="1" dirty="0" smtClean="0"/>
          </a:p>
        </p:txBody>
      </p:sp>
      <p:sp>
        <p:nvSpPr>
          <p:cNvPr id="32" name="TextBox 31"/>
          <p:cNvSpPr txBox="1"/>
          <p:nvPr/>
        </p:nvSpPr>
        <p:spPr>
          <a:xfrm>
            <a:off x="5638800" y="44324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4%</a:t>
            </a:r>
            <a:endParaRPr lang="en-US" sz="1200" b="1" dirty="0" smtClean="0"/>
          </a:p>
        </p:txBody>
      </p:sp>
      <p:sp>
        <p:nvSpPr>
          <p:cNvPr id="33" name="TextBox 32"/>
          <p:cNvSpPr txBox="1"/>
          <p:nvPr/>
        </p:nvSpPr>
        <p:spPr>
          <a:xfrm>
            <a:off x="7583260" y="2743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6%</a:t>
            </a:r>
            <a:endParaRPr lang="en-US" sz="1200" b="1" dirty="0" smtClean="0"/>
          </a:p>
        </p:txBody>
      </p:sp>
      <p:sp>
        <p:nvSpPr>
          <p:cNvPr id="34" name="TextBox 33"/>
          <p:cNvSpPr txBox="1"/>
          <p:nvPr/>
        </p:nvSpPr>
        <p:spPr>
          <a:xfrm>
            <a:off x="678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6%</a:t>
            </a:r>
            <a:endParaRPr lang="en-US" sz="1200" b="1" dirty="0" smtClean="0"/>
          </a:p>
        </p:txBody>
      </p:sp>
      <p:grpSp>
        <p:nvGrpSpPr>
          <p:cNvPr id="35" name="Group 34"/>
          <p:cNvGrpSpPr/>
          <p:nvPr/>
        </p:nvGrpSpPr>
        <p:grpSpPr>
          <a:xfrm>
            <a:off x="6175214" y="396232"/>
            <a:ext cx="2968787" cy="60967"/>
            <a:chOff x="3352800" y="396232"/>
            <a:chExt cx="5791202" cy="60967"/>
          </a:xfrm>
        </p:grpSpPr>
        <p:sp>
          <p:nvSpPr>
            <p:cNvPr id="36" name="Rectangle 35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-1" y="6408423"/>
            <a:ext cx="9144001" cy="320040"/>
            <a:chOff x="-1" y="8915400"/>
            <a:chExt cx="6858001" cy="45720"/>
          </a:xfrm>
        </p:grpSpPr>
        <p:sp>
          <p:nvSpPr>
            <p:cNvPr id="47" name="Rectangle 4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6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1802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593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2019 </a:t>
            </a:r>
            <a:r>
              <a:rPr lang="en-US" dirty="0" smtClean="0">
                <a:solidFill>
                  <a:srgbClr val="104554"/>
                </a:solidFill>
              </a:rPr>
              <a:t>School-Age Child Restraint Use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in 18 Texas Citi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1000" y="1260940"/>
            <a:ext cx="362491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in or near school zones in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four quadrants i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ach city, with a quota sample of a minimum of 500 vehicles/city.  Total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sample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11,581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Childre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stimated as 5-16 years old included in the sample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verage percent use across all cities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56.9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%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1600" y="26186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2.6%</a:t>
            </a:r>
            <a:endParaRPr lang="en-US" sz="1200" b="1" dirty="0" smtClean="0"/>
          </a:p>
        </p:txBody>
      </p:sp>
      <p:sp>
        <p:nvSpPr>
          <p:cNvPr id="21" name="TextBox 20"/>
          <p:cNvSpPr txBox="1"/>
          <p:nvPr/>
        </p:nvSpPr>
        <p:spPr>
          <a:xfrm>
            <a:off x="6172199" y="3962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7.8%</a:t>
            </a:r>
            <a:endParaRPr lang="en-US" sz="1200" b="1" dirty="0" smtClean="0"/>
          </a:p>
        </p:txBody>
      </p:sp>
      <p:sp>
        <p:nvSpPr>
          <p:cNvPr id="22" name="TextBox 21"/>
          <p:cNvSpPr txBox="1"/>
          <p:nvPr/>
        </p:nvSpPr>
        <p:spPr>
          <a:xfrm>
            <a:off x="7524730" y="38100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42.0%</a:t>
            </a:r>
            <a:endParaRPr lang="en-US" sz="1200" b="1" dirty="0" smtClean="0"/>
          </a:p>
        </p:txBody>
      </p:sp>
      <p:sp>
        <p:nvSpPr>
          <p:cNvPr id="23" name="TextBox 22"/>
          <p:cNvSpPr txBox="1"/>
          <p:nvPr/>
        </p:nvSpPr>
        <p:spPr>
          <a:xfrm>
            <a:off x="6265447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4.5%</a:t>
            </a:r>
            <a:endParaRPr lang="en-US" sz="1200" b="1" dirty="0" smtClean="0"/>
          </a:p>
        </p:txBody>
      </p:sp>
      <p:sp>
        <p:nvSpPr>
          <p:cNvPr id="24" name="TextBox 23"/>
          <p:cNvSpPr txBox="1"/>
          <p:nvPr/>
        </p:nvSpPr>
        <p:spPr>
          <a:xfrm>
            <a:off x="6634994" y="358139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2.1%</a:t>
            </a:r>
            <a:endParaRPr lang="en-US" sz="1200" b="1" dirty="0" smtClean="0"/>
          </a:p>
        </p:txBody>
      </p:sp>
      <p:sp>
        <p:nvSpPr>
          <p:cNvPr id="25" name="TextBox 24"/>
          <p:cNvSpPr txBox="1"/>
          <p:nvPr/>
        </p:nvSpPr>
        <p:spPr>
          <a:xfrm>
            <a:off x="6115000" y="4980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4.0%</a:t>
            </a:r>
            <a:endParaRPr lang="en-US" sz="1200" b="1" dirty="0" smtClean="0"/>
          </a:p>
        </p:txBody>
      </p:sp>
      <p:sp>
        <p:nvSpPr>
          <p:cNvPr id="26" name="TextBox 25"/>
          <p:cNvSpPr txBox="1"/>
          <p:nvPr/>
        </p:nvSpPr>
        <p:spPr>
          <a:xfrm>
            <a:off x="7124698" y="24662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2.4%</a:t>
            </a:r>
            <a:endParaRPr lang="en-US" sz="1200" b="1" dirty="0" smtClean="0"/>
          </a:p>
        </p:txBody>
      </p:sp>
      <p:sp>
        <p:nvSpPr>
          <p:cNvPr id="27" name="TextBox 26"/>
          <p:cNvSpPr txBox="1"/>
          <p:nvPr/>
        </p:nvSpPr>
        <p:spPr>
          <a:xfrm>
            <a:off x="3047999" y="3075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7.0</a:t>
            </a:r>
            <a:r>
              <a:rPr lang="en-US" sz="1200" b="1" dirty="0" smtClean="0"/>
              <a:t>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58869" y="42195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5.3%</a:t>
            </a:r>
            <a:endParaRPr lang="en-US" sz="1200" b="1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6248399" y="24662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0.8%</a:t>
            </a:r>
            <a:endParaRPr lang="en-US" sz="1200" b="1" dirty="0" smtClean="0"/>
          </a:p>
        </p:txBody>
      </p:sp>
      <p:sp>
        <p:nvSpPr>
          <p:cNvPr id="31" name="TextBox 30"/>
          <p:cNvSpPr txBox="1"/>
          <p:nvPr/>
        </p:nvSpPr>
        <p:spPr>
          <a:xfrm>
            <a:off x="5922547" y="52856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8.1%</a:t>
            </a:r>
            <a:endParaRPr lang="en-US" sz="1200" b="1" dirty="0" smtClean="0"/>
          </a:p>
        </p:txBody>
      </p:sp>
      <p:sp>
        <p:nvSpPr>
          <p:cNvPr id="32" name="TextBox 31"/>
          <p:cNvSpPr txBox="1"/>
          <p:nvPr/>
        </p:nvSpPr>
        <p:spPr>
          <a:xfrm>
            <a:off x="4952999" y="207145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7.1%</a:t>
            </a:r>
            <a:endParaRPr lang="en-US" sz="1200" b="1" dirty="0" smtClean="0"/>
          </a:p>
        </p:txBody>
      </p:sp>
      <p:sp>
        <p:nvSpPr>
          <p:cNvPr id="33" name="TextBox 32"/>
          <p:cNvSpPr txBox="1"/>
          <p:nvPr/>
        </p:nvSpPr>
        <p:spPr>
          <a:xfrm>
            <a:off x="4800600" y="3075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0.2%</a:t>
            </a:r>
            <a:endParaRPr lang="en-US" sz="1200" b="1" dirty="0" smtClean="0"/>
          </a:p>
        </p:txBody>
      </p:sp>
      <p:sp>
        <p:nvSpPr>
          <p:cNvPr id="34" name="TextBox 33"/>
          <p:cNvSpPr txBox="1"/>
          <p:nvPr/>
        </p:nvSpPr>
        <p:spPr>
          <a:xfrm>
            <a:off x="5791199" y="4419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0.6%</a:t>
            </a:r>
            <a:endParaRPr lang="en-US" sz="1200" b="1" dirty="0" smtClean="0"/>
          </a:p>
        </p:txBody>
      </p:sp>
      <p:sp>
        <p:nvSpPr>
          <p:cNvPr id="35" name="TextBox 34"/>
          <p:cNvSpPr txBox="1"/>
          <p:nvPr/>
        </p:nvSpPr>
        <p:spPr>
          <a:xfrm>
            <a:off x="7757637" y="269479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2.5%</a:t>
            </a:r>
            <a:endParaRPr lang="en-US" sz="1200" b="1" dirty="0" smtClean="0"/>
          </a:p>
        </p:txBody>
      </p:sp>
      <p:sp>
        <p:nvSpPr>
          <p:cNvPr id="36" name="TextBox 35"/>
          <p:cNvSpPr txBox="1"/>
          <p:nvPr/>
        </p:nvSpPr>
        <p:spPr>
          <a:xfrm>
            <a:off x="4952999" y="1219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0.8%</a:t>
            </a:r>
            <a:endParaRPr lang="en-US" sz="1200" b="1" dirty="0" smtClean="0"/>
          </a:p>
        </p:txBody>
      </p:sp>
      <p:sp>
        <p:nvSpPr>
          <p:cNvPr id="37" name="TextBox 36"/>
          <p:cNvSpPr txBox="1"/>
          <p:nvPr/>
        </p:nvSpPr>
        <p:spPr>
          <a:xfrm>
            <a:off x="6934199" y="3124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4.1%</a:t>
            </a:r>
            <a:endParaRPr lang="en-US" sz="1200" b="1" dirty="0" smtClean="0"/>
          </a:p>
        </p:txBody>
      </p:sp>
      <p:sp>
        <p:nvSpPr>
          <p:cNvPr id="38" name="TextBox 37"/>
          <p:cNvSpPr txBox="1"/>
          <p:nvPr/>
        </p:nvSpPr>
        <p:spPr>
          <a:xfrm>
            <a:off x="6248399" y="2133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5.6%</a:t>
            </a:r>
            <a:endParaRPr lang="en-US" sz="1200" b="1" dirty="0" smtClean="0"/>
          </a:p>
        </p:txBody>
      </p:sp>
      <p:grpSp>
        <p:nvGrpSpPr>
          <p:cNvPr id="40" name="Group 39"/>
          <p:cNvGrpSpPr/>
          <p:nvPr/>
        </p:nvGrpSpPr>
        <p:grpSpPr>
          <a:xfrm>
            <a:off x="5410200" y="396233"/>
            <a:ext cx="3733802" cy="60966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-1" y="6400807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617</TotalTime>
  <Words>412</Words>
  <Application>Microsoft Office PowerPoint</Application>
  <PresentationFormat>On-screen Show (4:3)</PresentationFormat>
  <Paragraphs>121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MASTER_powerpoint_template</vt:lpstr>
      <vt:lpstr>think-cell Slide</vt:lpstr>
      <vt:lpstr>Statewide 2019 Safety Belt Use Rates</vt:lpstr>
      <vt:lpstr>Texas 2019 Safety Belt Use by City</vt:lpstr>
      <vt:lpstr>Texas 2019 Nighttime Safety Belt Use by City</vt:lpstr>
      <vt:lpstr>2019 Child Restraint Use in 14 Texas Cities</vt:lpstr>
      <vt:lpstr>2019 School-Age Child Restraint Use in 18 Texas Cities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lexa Goldberg</dc:creator>
  <cp:lastModifiedBy>Nelson, Alicia</cp:lastModifiedBy>
  <cp:revision>146</cp:revision>
  <cp:lastPrinted>2013-02-21T15:21:56Z</cp:lastPrinted>
  <dcterms:created xsi:type="dcterms:W3CDTF">2014-03-05T15:59:22Z</dcterms:created>
  <dcterms:modified xsi:type="dcterms:W3CDTF">2019-10-04T17:26:43Z</dcterms:modified>
</cp:coreProperties>
</file>